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778" r:id="rId5"/>
    <p:sldId id="779" r:id="rId6"/>
    <p:sldId id="780" r:id="rId7"/>
    <p:sldId id="781" r:id="rId8"/>
    <p:sldId id="782" r:id="rId9"/>
    <p:sldId id="777" r:id="rId10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3">
          <p15:clr>
            <a:srgbClr val="A4A3A4"/>
          </p15:clr>
        </p15:guide>
        <p15:guide id="2" orient="horz" pos="738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pos="5658">
          <p15:clr>
            <a:srgbClr val="A4A3A4"/>
          </p15:clr>
        </p15:guide>
        <p15:guide id="5" pos="95">
          <p15:clr>
            <a:srgbClr val="A4A3A4"/>
          </p15:clr>
        </p15:guide>
        <p15:guide id="6" pos="272">
          <p15:clr>
            <a:srgbClr val="A4A3A4"/>
          </p15:clr>
        </p15:guide>
        <p15:guide id="7" pos="2879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lark, Kelli" initials="CK" lastIdx="3" clrIdx="0"/>
  <p:cmAuthor id="1" name="Mousdale, Rebecca" initials="MR" lastIdx="6" clrIdx="1"/>
  <p:cmAuthor id="8" name="Harrison, Ella" initials="HE" lastIdx="3" clrIdx="3">
    <p:extLst>
      <p:ext uri="{19B8F6BF-5375-455C-9EA6-DF929625EA0E}">
        <p15:presenceInfo xmlns:p15="http://schemas.microsoft.com/office/powerpoint/2012/main" userId="S-1-5-21-1148371208-3881244709-1933943619-58724" providerId="AD"/>
      </p:ext>
    </p:extLst>
  </p:cmAuthor>
  <p:cmAuthor id="2" name="Clark, Roly" initials="CR" lastIdx="5" clrIdx="2">
    <p:extLst>
      <p:ext uri="{19B8F6BF-5375-455C-9EA6-DF929625EA0E}">
        <p15:presenceInfo xmlns:p15="http://schemas.microsoft.com/office/powerpoint/2012/main" userId="S-1-5-21-1148371208-3881244709-1933943619-449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DECDCC"/>
    <a:srgbClr val="FA0007"/>
    <a:srgbClr val="F60006"/>
    <a:srgbClr val="F1030A"/>
    <a:srgbClr val="ED0409"/>
    <a:srgbClr val="ED100C"/>
    <a:srgbClr val="ED1C10"/>
    <a:srgbClr val="ED1F13"/>
    <a:srgbClr val="EA1F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C97836E-0365-414F-8AA7-DBCB275A6A84}" v="8" dt="2019-09-25T21:37:01.1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59"/>
    <p:restoredTop sz="94331" autoAdjust="0"/>
  </p:normalViewPr>
  <p:slideViewPr>
    <p:cSldViewPr snapToGrid="0">
      <p:cViewPr varScale="1">
        <p:scale>
          <a:sx n="59" d="100"/>
          <a:sy n="59" d="100"/>
        </p:scale>
        <p:origin x="1520" y="52"/>
      </p:cViewPr>
      <p:guideLst>
        <p:guide orient="horz" pos="3973"/>
        <p:guide orient="horz" pos="738"/>
        <p:guide orient="horz" pos="997"/>
        <p:guide pos="5658"/>
        <p:guide pos="95"/>
        <p:guide pos="272"/>
        <p:guide pos="287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r">
              <a:defRPr sz="1200"/>
            </a:lvl1pPr>
          </a:lstStyle>
          <a:p>
            <a:fld id="{4E0D6A37-291F-4E46-BB73-3B99CE153558}" type="datetimeFigureOut">
              <a:rPr lang="en-US" smtClean="0"/>
              <a:t>2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r">
              <a:defRPr sz="1200"/>
            </a:lvl1pPr>
          </a:lstStyle>
          <a:p>
            <a:fld id="{FBB6E366-02D8-9240-8F65-12E2F8F286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79925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r">
              <a:defRPr sz="1200"/>
            </a:lvl1pPr>
          </a:lstStyle>
          <a:p>
            <a:fld id="{06CCCD24-79A0-1B45-AEA8-F931F4D6188E}" type="datetimeFigureOut">
              <a:rPr lang="en-US" smtClean="0"/>
              <a:t>2/2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9" tIns="45704" rIns="91409" bIns="4570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7"/>
          </a:xfrm>
          <a:prstGeom prst="rect">
            <a:avLst/>
          </a:prstGeom>
        </p:spPr>
        <p:txBody>
          <a:bodyPr vert="horz" lIns="91409" tIns="45704" rIns="91409" bIns="4570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r">
              <a:defRPr sz="1200"/>
            </a:lvl1pPr>
          </a:lstStyle>
          <a:p>
            <a:fld id="{23FFFF08-BA74-3E4E-B67B-CFCBDE5D98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7388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1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56308" y="149795"/>
            <a:ext cx="8824871" cy="10811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532" y="303652"/>
            <a:ext cx="2017673" cy="4123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5148" y="866775"/>
            <a:ext cx="8075613" cy="1197787"/>
          </a:xfrm>
        </p:spPr>
        <p:txBody>
          <a:bodyPr anchor="t">
            <a:normAutofit/>
          </a:bodyPr>
          <a:lstStyle>
            <a:lvl1pPr>
              <a:lnSpc>
                <a:spcPct val="95000"/>
              </a:lnSpc>
              <a:defRPr sz="4800" b="0" i="0" cap="none"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150813" y="2213627"/>
            <a:ext cx="8829675" cy="449421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1"/>
          </p:nvPr>
        </p:nvSpPr>
        <p:spPr>
          <a:xfrm>
            <a:off x="7223650" y="344650"/>
            <a:ext cx="1581319" cy="365125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26 April 2016</a:t>
            </a:r>
          </a:p>
        </p:txBody>
      </p:sp>
    </p:spTree>
    <p:extLst>
      <p:ext uri="{BB962C8B-B14F-4D97-AF65-F5344CB8AC3E}">
        <p14:creationId xmlns:p14="http://schemas.microsoft.com/office/powerpoint/2010/main" val="25385668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171574"/>
            <a:ext cx="9144000" cy="568642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147638" y="147638"/>
            <a:ext cx="8832850" cy="6710362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93893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9144000" cy="630713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593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910667" y="4233416"/>
            <a:ext cx="2253884" cy="625148"/>
          </a:xfrm>
        </p:spPr>
        <p:txBody>
          <a:bodyPr/>
          <a:lstStyle>
            <a:lvl1pPr>
              <a:defRPr>
                <a:solidFill>
                  <a:srgbClr val="222221"/>
                </a:solidFill>
                <a:latin typeface="Gill Sans Infant Std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568364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Thank_you_STC_logo_lockup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2617" y="2113411"/>
            <a:ext cx="4355592" cy="2023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9054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ve the Childre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 userDrawn="1"/>
        </p:nvSpPr>
        <p:spPr>
          <a:xfrm>
            <a:off x="1442676" y="2370672"/>
            <a:ext cx="6255472" cy="1583233"/>
          </a:xfrm>
          <a:prstGeom prst="roundRect">
            <a:avLst>
              <a:gd name="adj" fmla="val 8552"/>
            </a:avLst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200" b="1" i="0">
              <a:solidFill>
                <a:srgbClr val="222221"/>
              </a:solidFill>
              <a:latin typeface="TradeGothic LT CondEighteen"/>
              <a:cs typeface="TradeGothic LT CondEighteen"/>
            </a:endParaRPr>
          </a:p>
        </p:txBody>
      </p:sp>
      <p:pic>
        <p:nvPicPr>
          <p:cNvPr id="13" name="Picture 12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4139" y="2562159"/>
            <a:ext cx="5872546" cy="120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8874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22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30311" y="6441021"/>
            <a:ext cx="773723" cy="365125"/>
          </a:xfrm>
          <a:prstGeom prst="rect">
            <a:avLst/>
          </a:prstGeom>
        </p:spPr>
        <p:txBody>
          <a:bodyPr/>
          <a:lstStyle/>
          <a:p>
            <a:pPr defTabSz="422041">
              <a:defRPr/>
            </a:pPr>
            <a:fld id="{C3FDE51E-0052-334C-A4B2-C567FE9F326F}" type="slidenum">
              <a:rPr lang="en-US" smtClean="0">
                <a:solidFill>
                  <a:srgbClr val="222221"/>
                </a:solidFill>
              </a:rPr>
              <a:pPr defTabSz="422041">
                <a:defRPr/>
              </a:pPr>
              <a:t>‹#›</a:t>
            </a:fld>
            <a:endParaRPr lang="en-US">
              <a:solidFill>
                <a:srgbClr val="222221"/>
              </a:solidFill>
            </a:endParaRPr>
          </a:p>
        </p:txBody>
      </p:sp>
      <p:pic>
        <p:nvPicPr>
          <p:cNvPr id="10" name="Picture 9" descr="Save_the_Children_logo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428" y="6250798"/>
            <a:ext cx="1861366" cy="380442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156309" y="149797"/>
            <a:ext cx="8824871" cy="1022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22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46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16" name="Title 3"/>
          <p:cNvSpPr>
            <a:spLocks noGrp="1"/>
          </p:cNvSpPr>
          <p:nvPr>
            <p:ph type="title"/>
          </p:nvPr>
        </p:nvSpPr>
        <p:spPr>
          <a:xfrm>
            <a:off x="150813" y="132709"/>
            <a:ext cx="8829675" cy="472411"/>
          </a:xfrm>
          <a:prstGeom prst="rect">
            <a:avLst/>
          </a:prstGeom>
        </p:spPr>
        <p:txBody>
          <a:bodyPr/>
          <a:lstStyle>
            <a:lvl1pPr>
              <a:defRPr sz="221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8" name="Picture 7" descr="Underscore_line.png">
            <a:extLst>
              <a:ext uri="{FF2B5EF4-FFF2-40B4-BE49-F238E27FC236}">
                <a16:creationId xmlns:a16="http://schemas.microsoft.com/office/drawing/2014/main" id="{C9DAB969-758B-423D-86B2-D119368C6E1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636" y="1124217"/>
            <a:ext cx="8305800" cy="57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789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4572000" y="0"/>
            <a:ext cx="4572000" cy="630713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0768" y="1171576"/>
            <a:ext cx="3243019" cy="1219798"/>
          </a:xfrm>
        </p:spPr>
        <p:txBody>
          <a:bodyPr anchor="t">
            <a:normAutofit/>
          </a:bodyPr>
          <a:lstStyle>
            <a:lvl1pPr algn="l">
              <a:lnSpc>
                <a:spcPct val="95000"/>
              </a:lnSpc>
              <a:defRPr sz="3200" b="0" i="0" cap="none">
                <a:solidFill>
                  <a:schemeClr val="bg1"/>
                </a:solidFill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0767" y="2395663"/>
            <a:ext cx="3243020" cy="2684219"/>
          </a:xfrm>
        </p:spPr>
        <p:txBody>
          <a:bodyPr anchor="t">
            <a:normAutofit/>
          </a:bodyPr>
          <a:lstStyle>
            <a:lvl1pPr marL="0" indent="0">
              <a:buNone/>
              <a:defRPr sz="1800" b="0" i="0">
                <a:solidFill>
                  <a:srgbClr val="FFFFFF"/>
                </a:solidFill>
                <a:latin typeface="Gill Sans Infant Std"/>
                <a:cs typeface="Gill Sans Infant Std"/>
              </a:defRPr>
            </a:lvl1pPr>
            <a:lvl2pPr marL="0" indent="0">
              <a:buNone/>
              <a:defRPr sz="1800">
                <a:solidFill>
                  <a:schemeClr val="bg1"/>
                </a:solidFill>
              </a:defRPr>
            </a:lvl2pPr>
            <a:lvl3pPr marL="1588" indent="0">
              <a:buNone/>
              <a:defRPr sz="1800">
                <a:solidFill>
                  <a:srgbClr val="FFFFFF"/>
                </a:solidFill>
              </a:defRPr>
            </a:lvl3pPr>
            <a:lvl4pPr marL="0" indent="0">
              <a:buNone/>
              <a:defRPr sz="1800">
                <a:solidFill>
                  <a:srgbClr val="FFFFFF"/>
                </a:solidFill>
              </a:defRPr>
            </a:lvl4pPr>
            <a:lvl5pPr marL="0" indent="0">
              <a:buNone/>
              <a:defRPr sz="1800">
                <a:solidFill>
                  <a:srgbClr val="FFFFFF"/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152400" y="155738"/>
            <a:ext cx="5002416" cy="598585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64721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156308" y="149795"/>
            <a:ext cx="8824871" cy="10811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763" y="310836"/>
            <a:ext cx="8282643" cy="1348102"/>
          </a:xfrm>
        </p:spPr>
        <p:txBody>
          <a:bodyPr anchor="t">
            <a:normAutofit/>
          </a:bodyPr>
          <a:lstStyle>
            <a:lvl1pPr algn="l">
              <a:lnSpc>
                <a:spcPct val="85000"/>
              </a:lnSpc>
              <a:defRPr sz="4800" b="0" i="0" cap="none">
                <a:solidFill>
                  <a:schemeClr val="tx1"/>
                </a:solidFill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8" name="Picture 7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155738" y="2200274"/>
            <a:ext cx="8824750" cy="410686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77348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147638" y="1171574"/>
            <a:ext cx="8832850" cy="513556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634" y="202994"/>
            <a:ext cx="8282640" cy="787605"/>
          </a:xfrm>
        </p:spPr>
        <p:txBody>
          <a:bodyPr>
            <a:noAutofit/>
          </a:bodyPr>
          <a:lstStyle>
            <a:lvl1pPr>
              <a:defRPr sz="4800" b="0" i="0" cap="none">
                <a:solidFill>
                  <a:schemeClr val="bg1"/>
                </a:solidFill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147" y="1600200"/>
            <a:ext cx="8276127" cy="4547903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266700" indent="-266700">
              <a:buClr>
                <a:schemeClr val="tx2"/>
              </a:buClr>
              <a:buFont typeface="Arial"/>
              <a:buChar char="•"/>
              <a:defRPr sz="1800"/>
            </a:lvl2pPr>
            <a:lvl3pPr marL="266700" indent="-266700">
              <a:defRPr sz="1800"/>
            </a:lvl3pPr>
            <a:lvl4pPr marL="266700" indent="-266700">
              <a:buClr>
                <a:schemeClr val="tx2"/>
              </a:buClr>
              <a:buFont typeface="Arial"/>
              <a:buChar char="•"/>
              <a:defRPr sz="1800"/>
            </a:lvl4pPr>
            <a:lvl5pPr marL="266700" indent="-266700"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6939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5286" y="705600"/>
            <a:ext cx="8282151" cy="363537"/>
          </a:xfrm>
        </p:spPr>
        <p:txBody>
          <a:bodyPr>
            <a:noAutofit/>
          </a:bodyPr>
          <a:lstStyle>
            <a:lvl1pPr>
              <a:defRPr sz="2500" b="0">
                <a:solidFill>
                  <a:srgbClr val="222221"/>
                </a:solidFill>
              </a:defRPr>
            </a:lvl1pPr>
            <a:lvl2pPr>
              <a:defRPr sz="2500"/>
            </a:lvl2pPr>
            <a:lvl3pPr marL="0" indent="0">
              <a:buNone/>
              <a:defRPr sz="2500"/>
            </a:lvl3pPr>
            <a:lvl4pPr marL="0" indent="0">
              <a:buNone/>
              <a:defRPr sz="2500"/>
            </a:lvl4pPr>
            <a:lvl5pPr marL="0" indent="0">
              <a:buNone/>
              <a:defRPr sz="2500"/>
            </a:lvl5pPr>
            <a:lvl6pPr marL="1588" indent="0">
              <a:buNone/>
              <a:defRPr sz="2500" b="0" i="0">
                <a:latin typeface="Gill Sans Infant MT"/>
                <a:cs typeface="Gill Sans Infant MT"/>
              </a:defRPr>
            </a:lvl6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63750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x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147" y="1600200"/>
            <a:ext cx="3997571" cy="47069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5286" y="705600"/>
            <a:ext cx="8282151" cy="363537"/>
          </a:xfrm>
        </p:spPr>
        <p:txBody>
          <a:bodyPr>
            <a:normAutofit/>
          </a:bodyPr>
          <a:lstStyle>
            <a:lvl1pPr>
              <a:defRPr sz="2500" b="0">
                <a:solidFill>
                  <a:srgbClr val="222221"/>
                </a:solidFill>
              </a:defRPr>
            </a:lvl1pPr>
            <a:lvl2pPr>
              <a:defRPr sz="2500"/>
            </a:lvl2pPr>
            <a:lvl3pPr marL="0" indent="0">
              <a:buNone/>
              <a:defRPr sz="2500"/>
            </a:lvl3pPr>
            <a:lvl4pPr marL="0" indent="0">
              <a:buNone/>
              <a:defRPr sz="2500"/>
            </a:lvl4pPr>
            <a:lvl5pPr marL="0" indent="0">
              <a:buNone/>
              <a:defRPr sz="25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709703" y="1600200"/>
            <a:ext cx="3997571" cy="47069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60398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5286" y="705600"/>
            <a:ext cx="8282151" cy="363537"/>
          </a:xfrm>
        </p:spPr>
        <p:txBody>
          <a:bodyPr>
            <a:normAutofit/>
          </a:bodyPr>
          <a:lstStyle>
            <a:lvl1pPr>
              <a:defRPr sz="2500" b="0">
                <a:solidFill>
                  <a:srgbClr val="222221"/>
                </a:solidFill>
              </a:defRPr>
            </a:lvl1pPr>
            <a:lvl2pPr>
              <a:defRPr sz="2500"/>
            </a:lvl2pPr>
            <a:lvl3pPr marL="0" indent="0">
              <a:buNone/>
              <a:defRPr sz="2500"/>
            </a:lvl3pPr>
            <a:lvl4pPr marL="0" indent="0">
              <a:buNone/>
              <a:defRPr sz="2500"/>
            </a:lvl4pPr>
            <a:lvl5pPr marL="0" indent="0">
              <a:buNone/>
              <a:defRPr sz="25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76244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345179" y="1081128"/>
            <a:ext cx="8458854" cy="182359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063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345179" y="1081128"/>
            <a:ext cx="8458854" cy="182359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47637" y="147638"/>
            <a:ext cx="8837613" cy="6159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24379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56308" y="149795"/>
            <a:ext cx="8824871" cy="10811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634" y="202995"/>
            <a:ext cx="8282640" cy="5069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147" y="1600200"/>
            <a:ext cx="8276127" cy="47069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48991" y="6441019"/>
            <a:ext cx="15813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latin typeface="Gill Sans Infant Std"/>
                <a:cs typeface="Gill Sans Infant Std"/>
              </a:defRPr>
            </a:lvl1pPr>
          </a:lstStyle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5022" y="6441019"/>
            <a:ext cx="3824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latin typeface="Gill Sans Infant Std"/>
                <a:cs typeface="Gill Sans Infant Std"/>
              </a:defRPr>
            </a:lvl1pPr>
          </a:lstStyle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30310" y="6441019"/>
            <a:ext cx="7737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Gill Sans Infant Std"/>
                <a:cs typeface="Gill Sans Infant Std"/>
              </a:defRPr>
            </a:lvl1pPr>
          </a:lstStyle>
          <a:p>
            <a:fld id="{C3FDE51E-0052-334C-A4B2-C567FE9F326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Save_the_Children_logo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Underscore_line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636" y="1124217"/>
            <a:ext cx="8305800" cy="57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785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60" r:id="rId3"/>
    <p:sldLayoutId id="2147483661" r:id="rId4"/>
    <p:sldLayoutId id="2147483650" r:id="rId5"/>
    <p:sldLayoutId id="2147483662" r:id="rId6"/>
    <p:sldLayoutId id="2147483663" r:id="rId7"/>
    <p:sldLayoutId id="2147483655" r:id="rId8"/>
    <p:sldLayoutId id="2147483669" r:id="rId9"/>
    <p:sldLayoutId id="2147483670" r:id="rId10"/>
    <p:sldLayoutId id="2147483671" r:id="rId11"/>
    <p:sldLayoutId id="2147483672" r:id="rId12"/>
    <p:sldLayoutId id="2147483667" r:id="rId13"/>
    <p:sldLayoutId id="2147483673" r:id="rId14"/>
    <p:sldLayoutId id="2147483680" r:id="rId1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500" b="1" i="0" kern="1200">
          <a:solidFill>
            <a:schemeClr val="tx1"/>
          </a:solidFill>
          <a:latin typeface="Gill Sans Infant Std"/>
          <a:ea typeface="+mj-ea"/>
          <a:cs typeface="Gill Sans Infant Std"/>
        </a:defRPr>
      </a:lvl1pPr>
    </p:titleStyle>
    <p:bodyStyle>
      <a:lvl1pPr marL="0" indent="0" algn="l" defTabSz="457200" rtl="0" eaLnBrk="1" latinLnBrk="0" hangingPunct="1">
        <a:spcBef>
          <a:spcPts val="0"/>
        </a:spcBef>
        <a:spcAft>
          <a:spcPts val="600"/>
        </a:spcAft>
        <a:buFont typeface="Arial"/>
        <a:buNone/>
        <a:defRPr sz="1800" b="1" i="0" kern="1200">
          <a:solidFill>
            <a:schemeClr val="tx2"/>
          </a:solidFill>
          <a:latin typeface="Gill Sans Infant Std"/>
          <a:ea typeface="+mn-ea"/>
          <a:cs typeface="Gill Sans Infant Std"/>
        </a:defRPr>
      </a:lvl1pPr>
      <a:lvl2pPr marL="0" indent="0" algn="l" defTabSz="457200" rtl="0" eaLnBrk="1" latinLnBrk="0" hangingPunct="1">
        <a:spcBef>
          <a:spcPts val="0"/>
        </a:spcBef>
        <a:spcAft>
          <a:spcPts val="600"/>
        </a:spcAft>
        <a:buFont typeface="Arial"/>
        <a:buNone/>
        <a:defRPr sz="1500" b="0" i="0" kern="1200">
          <a:solidFill>
            <a:schemeClr val="tx1"/>
          </a:solidFill>
          <a:latin typeface="Gill Sans Infant Std"/>
          <a:ea typeface="+mn-ea"/>
          <a:cs typeface="Gill Sans Infant Std"/>
        </a:defRPr>
      </a:lvl2pPr>
      <a:lvl3pPr marL="266700" indent="-266700" algn="l" defTabSz="4572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/>
        <a:buChar char="•"/>
        <a:defRPr sz="1400" b="0" i="0" kern="1200">
          <a:solidFill>
            <a:schemeClr val="tx1"/>
          </a:solidFill>
          <a:latin typeface="Gill Sans Infant Std"/>
          <a:ea typeface="+mn-ea"/>
          <a:cs typeface="Gill Sans Infant Std"/>
        </a:defRPr>
      </a:lvl3pPr>
      <a:lvl4pPr marL="541338" indent="-274638" algn="l" defTabSz="457200" rtl="0" eaLnBrk="1" latinLnBrk="0" hangingPunct="1">
        <a:spcBef>
          <a:spcPts val="0"/>
        </a:spcBef>
        <a:spcAft>
          <a:spcPts val="600"/>
        </a:spcAft>
        <a:buFont typeface="Arial"/>
        <a:buChar char="–"/>
        <a:defRPr sz="1300" b="0" i="0" kern="1200">
          <a:solidFill>
            <a:schemeClr val="tx1"/>
          </a:solidFill>
          <a:latin typeface="Gill Sans Infant Std"/>
          <a:ea typeface="+mn-ea"/>
          <a:cs typeface="Gill Sans Infant Std"/>
        </a:defRPr>
      </a:lvl4pPr>
      <a:lvl5pPr marL="808038" indent="-266700" algn="l" defTabSz="4572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/>
        <a:buChar char="•"/>
        <a:defRPr sz="1200" b="0" i="0" kern="1200">
          <a:solidFill>
            <a:schemeClr val="tx1"/>
          </a:solidFill>
          <a:latin typeface="Gill Sans Infant Std"/>
          <a:ea typeface="+mn-ea"/>
          <a:cs typeface="Gill Sans Infant Std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riba.com/ariba-network/ariba-network-for-suppliers/getting-started" TargetMode="External"/><Relationship Id="rId2" Type="http://schemas.openxmlformats.org/officeDocument/2006/relationships/hyperlink" Target="https://www.ariba.com/support/supplier-support" TargetMode="Externa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98666" y="1400568"/>
            <a:ext cx="8075613" cy="1008865"/>
          </a:xfrm>
        </p:spPr>
        <p:txBody>
          <a:bodyPr>
            <a:noAutofit/>
          </a:bodyPr>
          <a:lstStyle/>
          <a:p>
            <a:r>
              <a:rPr lang="en-US" sz="5400" b="1"/>
              <a:t>The Ariba Network</a:t>
            </a:r>
            <a:br>
              <a:rPr lang="en-US" sz="5400"/>
            </a:br>
            <a:r>
              <a:rPr lang="en-US" sz="5400"/>
              <a:t>Bidding for a Sourcing Event</a:t>
            </a:r>
            <a:br>
              <a:rPr lang="en-US" sz="5400"/>
            </a:br>
            <a:endParaRPr lang="en-US" sz="2000" b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2671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2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462AA2-3BBF-4F5F-8784-87223B9BD0B6}"/>
              </a:ext>
            </a:extLst>
          </p:cNvPr>
          <p:cNvSpPr/>
          <p:nvPr/>
        </p:nvSpPr>
        <p:spPr>
          <a:xfrm>
            <a:off x="164892" y="1318768"/>
            <a:ext cx="8829206" cy="403187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FF0000"/>
              </a:buClr>
            </a:pP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ep1:  To toggle from the Purchase Orders interface to the Sourcing interface</a:t>
            </a:r>
          </a:p>
          <a:p>
            <a:pPr>
              <a:buClr>
                <a:srgbClr val="FF0000"/>
              </a:buClr>
            </a:pPr>
            <a:endParaRPr lang="en-US" sz="16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o to </a:t>
            </a: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pplier.ariba.com </a:t>
            </a: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log in using your Ariba account credential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 top left, click on the arrow next to “</a:t>
            </a: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iba Network</a:t>
            </a: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” and choose “</a:t>
            </a: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iba Proposals and Questionnaires</a:t>
            </a: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”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You will be directed to the Sourcing interface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6A68A36-471E-2E47-B7FF-09B4AB91B33C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Bidding for a Sourcing Even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E142BB5-FACB-F047-A003-99961FA650AD}"/>
              </a:ext>
            </a:extLst>
          </p:cNvPr>
          <p:cNvSpPr txBox="1">
            <a:spLocks/>
          </p:cNvSpPr>
          <p:nvPr/>
        </p:nvSpPr>
        <p:spPr>
          <a:xfrm>
            <a:off x="348064" y="91118"/>
            <a:ext cx="8282151" cy="363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i="0" kern="1200">
                <a:solidFill>
                  <a:schemeClr val="tx2"/>
                </a:solidFill>
                <a:latin typeface="Gill Sans Infant Std"/>
                <a:ea typeface="+mn-ea"/>
                <a:cs typeface="Gill Sans Infant Std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5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2pPr>
            <a:lvl3pPr marL="266700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3pPr>
            <a:lvl4pPr marL="541338" indent="-2746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3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4pPr>
            <a:lvl5pPr marL="808038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GB" sz="3600">
                <a:solidFill>
                  <a:srgbClr val="FF0000"/>
                </a:solidFill>
                <a:latin typeface="Trade Gothic LT Com Cn" panose="020B0806040303020004" pitchFamily="34" charset="0"/>
              </a:rPr>
              <a:t>Supplier Registration Workshop</a:t>
            </a:r>
          </a:p>
        </p:txBody>
      </p:sp>
      <p:pic>
        <p:nvPicPr>
          <p:cNvPr id="27650" name="Picture 2">
            <a:extLst>
              <a:ext uri="{FF2B5EF4-FFF2-40B4-BE49-F238E27FC236}">
                <a16:creationId xmlns:a16="http://schemas.microsoft.com/office/drawing/2014/main" id="{DA3BF580-B35B-4EF4-A932-4CF938060E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852" y="3211594"/>
            <a:ext cx="8709286" cy="2378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020333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3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40E6CAA-064D-4ECF-8F09-2E8C670F6B97}"/>
              </a:ext>
            </a:extLst>
          </p:cNvPr>
          <p:cNvSpPr/>
          <p:nvPr/>
        </p:nvSpPr>
        <p:spPr>
          <a:xfrm>
            <a:off x="584221" y="1436938"/>
            <a:ext cx="6543064" cy="353943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FF0000"/>
              </a:buClr>
            </a:pPr>
            <a:r>
              <a:rPr lang="en-GB" sz="1600" b="1" u="sng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</a:t>
            </a:r>
            <a:r>
              <a:rPr lang="en-GB" sz="1600" b="1" u="sng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p 2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ct the ‘</a:t>
            </a:r>
            <a:r>
              <a:rPr lang="en-GB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n</a:t>
            </a: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GB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posal’</a:t>
            </a:r>
          </a:p>
          <a:p>
            <a:pPr marL="342900" indent="-342900">
              <a:buClr>
                <a:srgbClr val="FF0000"/>
              </a:buClr>
              <a:buFont typeface="+mj-lt"/>
              <a:buAutoNum type="arabicPeriod" startAt="2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2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2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FC9708C-0500-4DC1-ADAD-1DF44E13CD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274" y="2438395"/>
            <a:ext cx="8241760" cy="3725050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4CC47F83-5BD7-4E04-A933-51ED3F58F842}"/>
              </a:ext>
            </a:extLst>
          </p:cNvPr>
          <p:cNvCxnSpPr>
            <a:cxnSpLocks/>
          </p:cNvCxnSpPr>
          <p:nvPr/>
        </p:nvCxnSpPr>
        <p:spPr>
          <a:xfrm flipH="1">
            <a:off x="1606826" y="2272145"/>
            <a:ext cx="886992" cy="234568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9FDE92D3-C01B-4D41-9CD1-1BFB156CB9D5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Bidding for a Sourcing Even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649260E-9635-B444-A4ED-66D3C5843EE7}"/>
              </a:ext>
            </a:extLst>
          </p:cNvPr>
          <p:cNvSpPr txBox="1">
            <a:spLocks/>
          </p:cNvSpPr>
          <p:nvPr/>
        </p:nvSpPr>
        <p:spPr>
          <a:xfrm>
            <a:off x="348064" y="91118"/>
            <a:ext cx="8282151" cy="363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i="0" kern="1200">
                <a:solidFill>
                  <a:schemeClr val="tx2"/>
                </a:solidFill>
                <a:latin typeface="Gill Sans Infant Std"/>
                <a:ea typeface="+mn-ea"/>
                <a:cs typeface="Gill Sans Infant Std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5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2pPr>
            <a:lvl3pPr marL="266700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3pPr>
            <a:lvl4pPr marL="541338" indent="-2746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3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4pPr>
            <a:lvl5pPr marL="808038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GB" sz="3600">
                <a:solidFill>
                  <a:srgbClr val="FF0000"/>
                </a:solidFill>
                <a:latin typeface="Trade Gothic LT Com Cn" panose="020B0806040303020004" pitchFamily="34" charset="0"/>
              </a:rPr>
              <a:t>Supplier Registration Worksho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89421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6109855"/>
            <a:ext cx="2549236" cy="7481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4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9D0171C-3244-42CC-8E2B-00AC44B6C5E5}"/>
              </a:ext>
            </a:extLst>
          </p:cNvPr>
          <p:cNvSpPr/>
          <p:nvPr/>
        </p:nvSpPr>
        <p:spPr>
          <a:xfrm>
            <a:off x="562273" y="1402730"/>
            <a:ext cx="6662985" cy="304698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FF0000"/>
              </a:buClr>
            </a:pPr>
            <a:r>
              <a:rPr lang="en-GB" sz="1600" b="1" u="sng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ep 3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oose what to bid on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E24A2F-E82E-4AA5-AA4B-6F1B4ECEED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684"/>
          <a:stretch/>
        </p:blipFill>
        <p:spPr>
          <a:xfrm>
            <a:off x="562273" y="2750695"/>
            <a:ext cx="7943127" cy="3690326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42289AF-8D1F-4AC3-AF68-330C7EE0E4DB}"/>
              </a:ext>
            </a:extLst>
          </p:cNvPr>
          <p:cNvCxnSpPr>
            <a:cxnSpLocks/>
          </p:cNvCxnSpPr>
          <p:nvPr/>
        </p:nvCxnSpPr>
        <p:spPr>
          <a:xfrm flipH="1">
            <a:off x="1454727" y="2202873"/>
            <a:ext cx="914400" cy="187036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CD17D578-7BD9-0E4B-BB8D-795A40C40313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Bidding for a Sourcing Even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8206DB2-951B-6641-979F-35991932D0E7}"/>
              </a:ext>
            </a:extLst>
          </p:cNvPr>
          <p:cNvSpPr txBox="1">
            <a:spLocks/>
          </p:cNvSpPr>
          <p:nvPr/>
        </p:nvSpPr>
        <p:spPr>
          <a:xfrm>
            <a:off x="348064" y="91118"/>
            <a:ext cx="8282151" cy="363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i="0" kern="1200">
                <a:solidFill>
                  <a:schemeClr val="tx2"/>
                </a:solidFill>
                <a:latin typeface="Gill Sans Infant Std"/>
                <a:ea typeface="+mn-ea"/>
                <a:cs typeface="Gill Sans Infant Std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5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2pPr>
            <a:lvl3pPr marL="266700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3pPr>
            <a:lvl4pPr marL="541338" indent="-2746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3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4pPr>
            <a:lvl5pPr marL="808038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GB" sz="3600">
                <a:solidFill>
                  <a:srgbClr val="FF0000"/>
                </a:solidFill>
                <a:latin typeface="Trade Gothic LT Com Cn" panose="020B0806040303020004" pitchFamily="34" charset="0"/>
              </a:rPr>
              <a:t>Supplier Registration Worksho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129591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5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01364CD-BF19-4110-AD2D-04005EB3EF14}"/>
              </a:ext>
            </a:extLst>
          </p:cNvPr>
          <p:cNvSpPr/>
          <p:nvPr/>
        </p:nvSpPr>
        <p:spPr>
          <a:xfrm>
            <a:off x="447701" y="1381729"/>
            <a:ext cx="6880043" cy="280076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FF0000"/>
              </a:buClr>
            </a:pPr>
            <a:r>
              <a:rPr lang="en-GB" sz="1600" b="1" u="sng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ep 4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bmit your response</a:t>
            </a: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19C4DD-6741-4A74-8568-29213C12A2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701" y="2211110"/>
            <a:ext cx="8356333" cy="3942773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D4E8281-25B3-49ED-8D86-201492612E9B}"/>
              </a:ext>
            </a:extLst>
          </p:cNvPr>
          <p:cNvCxnSpPr>
            <a:cxnSpLocks/>
          </p:cNvCxnSpPr>
          <p:nvPr/>
        </p:nvCxnSpPr>
        <p:spPr>
          <a:xfrm flipH="1">
            <a:off x="1177636" y="2211110"/>
            <a:ext cx="263237" cy="175129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28547F24-9735-F046-BDF8-040A40A4D960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Bidding for a Sourcing Even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E6639F4-247B-FB44-9F81-14A41A154FF5}"/>
              </a:ext>
            </a:extLst>
          </p:cNvPr>
          <p:cNvSpPr txBox="1">
            <a:spLocks/>
          </p:cNvSpPr>
          <p:nvPr/>
        </p:nvSpPr>
        <p:spPr>
          <a:xfrm>
            <a:off x="348064" y="91118"/>
            <a:ext cx="8282151" cy="363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i="0" kern="1200">
                <a:solidFill>
                  <a:schemeClr val="tx2"/>
                </a:solidFill>
                <a:latin typeface="Gill Sans Infant Std"/>
                <a:ea typeface="+mn-ea"/>
                <a:cs typeface="Gill Sans Infant Std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5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2pPr>
            <a:lvl3pPr marL="266700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3pPr>
            <a:lvl4pPr marL="541338" indent="-2746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3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4pPr>
            <a:lvl5pPr marL="808038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GB" sz="3600">
                <a:solidFill>
                  <a:srgbClr val="FF0000"/>
                </a:solidFill>
                <a:latin typeface="Trade Gothic LT Com Cn" panose="020B0806040303020004" pitchFamily="34" charset="0"/>
              </a:rPr>
              <a:t>Supplier Registration Worksho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9142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6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B712CB0-CACD-419A-A00B-92858BA5E57D}"/>
              </a:ext>
            </a:extLst>
          </p:cNvPr>
          <p:cNvSpPr/>
          <p:nvPr/>
        </p:nvSpPr>
        <p:spPr>
          <a:xfrm>
            <a:off x="562273" y="1459832"/>
            <a:ext cx="8241761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If you have difficulties, and require technical support, you can access the Ariba Supplier Support Website on this link: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www.ariba.com/support/supplier-support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he Getting Started Page offers guidance on how to set up and navigate your new Ariba Network Account: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www.ariba.com/ariba-network/ariba-network-for-suppliers/getting-started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he Ariba Network Quick Start Guide gives helpful instructions on how to use the service. Your SCI contact will provide you with a copy of this guide.</a:t>
            </a:r>
          </a:p>
          <a:p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424F5C2-6215-1140-BB64-BC045F98F33A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 dirty="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Support Availab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C6DA6F1-691B-8B49-8F56-5C5C6FDBCB5E}"/>
              </a:ext>
            </a:extLst>
          </p:cNvPr>
          <p:cNvSpPr txBox="1">
            <a:spLocks/>
          </p:cNvSpPr>
          <p:nvPr/>
        </p:nvSpPr>
        <p:spPr>
          <a:xfrm>
            <a:off x="437198" y="213159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 dirty="0">
                <a:solidFill>
                  <a:srgbClr val="FF0000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Ariba Network Guidance</a:t>
            </a:r>
          </a:p>
        </p:txBody>
      </p:sp>
    </p:spTree>
    <p:extLst>
      <p:ext uri="{BB962C8B-B14F-4D97-AF65-F5344CB8AC3E}">
        <p14:creationId xmlns:p14="http://schemas.microsoft.com/office/powerpoint/2010/main" val="1434536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STC_Template_APR16">
  <a:themeElements>
    <a:clrScheme name="Save the Children 1">
      <a:dk1>
        <a:srgbClr val="222221"/>
      </a:dk1>
      <a:lt1>
        <a:srgbClr val="FFFFFF"/>
      </a:lt1>
      <a:dk2>
        <a:srgbClr val="F20F0E"/>
      </a:dk2>
      <a:lt2>
        <a:srgbClr val="D1CCBD"/>
      </a:lt2>
      <a:accent1>
        <a:srgbClr val="9A3324"/>
      </a:accent1>
      <a:accent2>
        <a:srgbClr val="FF4C02"/>
      </a:accent2>
      <a:accent3>
        <a:srgbClr val="F2A900"/>
      </a:accent3>
      <a:accent4>
        <a:srgbClr val="009CA6"/>
      </a:accent4>
      <a:accent5>
        <a:srgbClr val="F31512"/>
      </a:accent5>
      <a:accent6>
        <a:srgbClr val="D1CCBD"/>
      </a:accent6>
      <a:hlink>
        <a:srgbClr val="9A3324"/>
      </a:hlink>
      <a:folHlink>
        <a:srgbClr val="FF4C02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 dirty="0" smtClean="0">
            <a:latin typeface="Gill Sans Infant Std"/>
            <a:cs typeface="Gill Sans Infant Std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500" dirty="0" smtClean="0">
            <a:latin typeface="Gill Sans Infant Std"/>
            <a:cs typeface="Gill Sans Infant Std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1cf021-5141-4731-922b-b74431882f6f" xsi:nil="true"/>
    <lcf76f155ced4ddcb4097134ff3c332f xmlns="f5ec8004-f94b-4de0-9ed7-e506749a4c5e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E884E2B8C40BD4F88A38B69C6837B0B" ma:contentTypeVersion="12" ma:contentTypeDescription="Create a new document." ma:contentTypeScope="" ma:versionID="811aefa1665bbe9e1acf59f748f6de18">
  <xsd:schema xmlns:xsd="http://www.w3.org/2001/XMLSchema" xmlns:xs="http://www.w3.org/2001/XMLSchema" xmlns:p="http://schemas.microsoft.com/office/2006/metadata/properties" xmlns:ns2="f5ec8004-f94b-4de0-9ed7-e506749a4c5e" xmlns:ns3="f21cf021-5141-4731-922b-b74431882f6f" targetNamespace="http://schemas.microsoft.com/office/2006/metadata/properties" ma:root="true" ma:fieldsID="ee61587cde5874a66a7cdea63116515c" ns2:_="" ns3:_="">
    <xsd:import namespace="f5ec8004-f94b-4de0-9ed7-e506749a4c5e"/>
    <xsd:import namespace="f21cf021-5141-4731-922b-b74431882f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ec8004-f94b-4de0-9ed7-e506749a4c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23ec234-cbf3-4cc2-a0ae-2bfafc310c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1cf021-5141-4731-922b-b74431882f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560a08dc-0e6d-4053-a8d3-66767d3b232b}" ma:internalName="TaxCatchAll" ma:showField="CatchAllData" ma:web="f21cf021-5141-4731-922b-b74431882f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937998-E2D0-4E83-BAF5-10CD0697E6A5}">
  <ds:schemaRefs>
    <ds:schemaRef ds:uri="http://schemas.microsoft.com/office/2006/documentManagement/types"/>
    <ds:schemaRef ds:uri="http://purl.org/dc/dcmitype/"/>
    <ds:schemaRef ds:uri="http://purl.org/dc/elements/1.1/"/>
    <ds:schemaRef ds:uri="6cd3629d-1422-4ec0-a7de-b266c895e7c8"/>
    <ds:schemaRef ds:uri="http://www.w3.org/XML/1998/namespace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89e53f95-05e4-4eb1-a225-1f4c812f2089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6AB004C2-F11D-4970-A7EE-DB78129EBE12}"/>
</file>

<file path=customXml/itemProps3.xml><?xml version="1.0" encoding="utf-8"?>
<ds:datastoreItem xmlns:ds="http://schemas.openxmlformats.org/officeDocument/2006/customXml" ds:itemID="{A7654786-52D6-4F9A-A24C-CE49F662D18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ave the Children PowerPoint Template</Template>
  <TotalTime>31930</TotalTime>
  <Words>226</Words>
  <Application>Microsoft Office PowerPoint</Application>
  <PresentationFormat>On-screen Show (4:3)</PresentationFormat>
  <Paragraphs>65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Gill Sans Infant MT</vt:lpstr>
      <vt:lpstr>Gill Sans Infant Std</vt:lpstr>
      <vt:lpstr>Gill Sans MT</vt:lpstr>
      <vt:lpstr>Trade Gothic LT Com Cn</vt:lpstr>
      <vt:lpstr>TradeGothic LT CondEighteen</vt:lpstr>
      <vt:lpstr>STC_Template_APR16</vt:lpstr>
      <vt:lpstr>think-cell Slide</vt:lpstr>
      <vt:lpstr>The Ariba Network Bidding for a Sourcing Event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Source to Pay Members Alignment Workshop 20th-22nd March 2018</dc:title>
  <dc:creator>Clark, Roly</dc:creator>
  <cp:lastModifiedBy>Dusunen, Ali</cp:lastModifiedBy>
  <cp:revision>116</cp:revision>
  <cp:lastPrinted>2018-10-15T08:41:49Z</cp:lastPrinted>
  <dcterms:created xsi:type="dcterms:W3CDTF">2017-11-27T14:57:52Z</dcterms:created>
  <dcterms:modified xsi:type="dcterms:W3CDTF">2023-02-21T12:04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A466B97082A74FA64F50047B0EBD0B</vt:lpwstr>
  </property>
  <property fmtid="{D5CDD505-2E9C-101B-9397-08002B2CF9AE}" pid="3" name="AuthorIds_UIVersion_7168">
    <vt:lpwstr>1218</vt:lpwstr>
  </property>
  <property fmtid="{D5CDD505-2E9C-101B-9397-08002B2CF9AE}" pid="4" name="AuthorIds_UIVersion_512">
    <vt:lpwstr>1218</vt:lpwstr>
  </property>
  <property fmtid="{D5CDD505-2E9C-101B-9397-08002B2CF9AE}" pid="5" name="MediaServiceImageTags">
    <vt:lpwstr/>
  </property>
</Properties>
</file>